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1848" autoAdjust="0"/>
    <p:restoredTop sz="85802" autoAdjust="0"/>
  </p:normalViewPr>
  <p:slideViewPr>
    <p:cSldViewPr snapToGrid="0">
      <p:cViewPr varScale="1">
        <p:scale>
          <a:sx n="110" d="100"/>
          <a:sy n="110" d="100"/>
        </p:scale>
        <p:origin x="264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257027" y="3204446"/>
            <a:ext cx="1517650" cy="27499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546435"/>
            <a:ext cx="1109002" cy="2984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597150" y="5056972"/>
            <a:ext cx="1109002" cy="2984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ng Expens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774677" y="1695668"/>
            <a:ext cx="822473" cy="1646275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774677" y="3341943"/>
            <a:ext cx="822473" cy="186426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Maintenance (001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utages (002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Op. Costs (003)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114800" y="1211419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1 Private Water Hedge Sal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114800" y="1570110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114800" y="1928801"/>
            <a:ext cx="2292349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stCxn id="5" idx="3"/>
            <a:endCxn id="41" idx="1"/>
          </p:cNvCxnSpPr>
          <p:nvPr/>
        </p:nvCxnSpPr>
        <p:spPr>
          <a:xfrm flipV="1">
            <a:off x="3706152" y="1332975"/>
            <a:ext cx="408648" cy="3626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stCxn id="5" idx="3"/>
            <a:endCxn id="53" idx="1"/>
          </p:cNvCxnSpPr>
          <p:nvPr/>
        </p:nvCxnSpPr>
        <p:spPr>
          <a:xfrm>
            <a:off x="3706152" y="1695668"/>
            <a:ext cx="408648" cy="35468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2840" y="19585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stCxn id="41" idx="3"/>
            <a:endCxn id="60" idx="1"/>
          </p:cNvCxnSpPr>
          <p:nvPr/>
        </p:nvCxnSpPr>
        <p:spPr>
          <a:xfrm flipV="1">
            <a:off x="6407149" y="1186950"/>
            <a:ext cx="165691" cy="14602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stCxn id="41" idx="3"/>
            <a:endCxn id="61" idx="1"/>
          </p:cNvCxnSpPr>
          <p:nvPr/>
        </p:nvCxnSpPr>
        <p:spPr>
          <a:xfrm>
            <a:off x="6407149" y="1332975"/>
            <a:ext cx="165691" cy="6759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stCxn id="52" idx="3"/>
            <a:endCxn id="62" idx="1"/>
          </p:cNvCxnSpPr>
          <p:nvPr/>
        </p:nvCxnSpPr>
        <p:spPr>
          <a:xfrm flipV="1">
            <a:off x="6407149" y="1631280"/>
            <a:ext cx="169753" cy="6038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stCxn id="52" idx="3"/>
            <a:endCxn id="63" idx="1"/>
          </p:cNvCxnSpPr>
          <p:nvPr/>
        </p:nvCxnSpPr>
        <p:spPr>
          <a:xfrm>
            <a:off x="6407149" y="1691666"/>
            <a:ext cx="169753" cy="1532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stCxn id="53" idx="3"/>
            <a:endCxn id="64" idx="1"/>
          </p:cNvCxnSpPr>
          <p:nvPr/>
        </p:nvCxnSpPr>
        <p:spPr>
          <a:xfrm flipV="1">
            <a:off x="6407149" y="2048780"/>
            <a:ext cx="165691" cy="1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772911" y="1554168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048040" y="3808573"/>
            <a:ext cx="2353421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Cos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048041" y="4384278"/>
            <a:ext cx="2379044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Facility Cost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048041" y="5191479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Operational Maintenance Cos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048040" y="6069583"/>
            <a:ext cx="2353420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706152" y="3930129"/>
            <a:ext cx="341888" cy="127607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  <a:stCxn id="6" idx="3"/>
            <a:endCxn id="95" idx="1"/>
          </p:cNvCxnSpPr>
          <p:nvPr/>
        </p:nvCxnSpPr>
        <p:spPr>
          <a:xfrm>
            <a:off x="3706152" y="5206205"/>
            <a:ext cx="341888" cy="984934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772911" y="5021389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Chemical Exp (001)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 flipV="1">
            <a:off x="6401461" y="3927569"/>
            <a:ext cx="171379" cy="256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(002) - Heat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Utility Exp (002) - Electricity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427085" y="4291433"/>
            <a:ext cx="145755" cy="21440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427085" y="4505834"/>
            <a:ext cx="145755" cy="19949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Plant Admin Costs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401461" y="4997676"/>
            <a:ext cx="171378" cy="3153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401461" y="5313035"/>
            <a:ext cx="171376" cy="58468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Labour Costs (001)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 flipV="1">
            <a:off x="6401460" y="6190065"/>
            <a:ext cx="171377" cy="10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13</TotalTime>
  <Words>110</Words>
  <Application>Microsoft Macintosh PowerPoint</Application>
  <PresentationFormat>Custom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Paige Dotson</cp:lastModifiedBy>
  <cp:revision>36</cp:revision>
  <dcterms:created xsi:type="dcterms:W3CDTF">2020-04-12T13:23:13Z</dcterms:created>
  <dcterms:modified xsi:type="dcterms:W3CDTF">2022-07-06T20:23:34Z</dcterms:modified>
</cp:coreProperties>
</file>